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68" r:id="rId3"/>
    <p:sldId id="310" r:id="rId4"/>
    <p:sldId id="311" r:id="rId5"/>
    <p:sldId id="312" r:id="rId6"/>
    <p:sldId id="313" r:id="rId7"/>
  </p:sldIdLst>
  <p:sldSz cx="12192000" cy="6858000"/>
  <p:notesSz cx="6858000" cy="9144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256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456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editar el estilo de subtítulo del patrón</a:t>
            </a:r>
            <a:endParaRPr lang="en-U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01F8A-C3D8-4C19-93A9-9989EBC1E5A5}" type="datetimeFigureOut">
              <a:rPr lang="en-US" smtClean="0"/>
              <a:t>12/17/2022</a:t>
            </a:fld>
            <a:endParaRPr lang="en-U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461D46-7A9F-43B3-9944-9518E01EACD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87911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01F8A-C3D8-4C19-93A9-9989EBC1E5A5}" type="datetimeFigureOut">
              <a:rPr lang="en-US" smtClean="0"/>
              <a:t>12/17/2022</a:t>
            </a:fld>
            <a:endParaRPr lang="en-U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461D46-7A9F-43B3-9944-9518E01EACD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741771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01F8A-C3D8-4C19-93A9-9989EBC1E5A5}" type="datetimeFigureOut">
              <a:rPr lang="en-US" smtClean="0"/>
              <a:t>12/17/2022</a:t>
            </a:fld>
            <a:endParaRPr lang="en-U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461D46-7A9F-43B3-9944-9518E01EACD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7894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01F8A-C3D8-4C19-93A9-9989EBC1E5A5}" type="datetimeFigureOut">
              <a:rPr lang="en-US" smtClean="0"/>
              <a:t>12/17/2022</a:t>
            </a:fld>
            <a:endParaRPr lang="en-U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461D46-7A9F-43B3-9944-9518E01EACD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36332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01F8A-C3D8-4C19-93A9-9989EBC1E5A5}" type="datetimeFigureOut">
              <a:rPr lang="en-US" smtClean="0"/>
              <a:t>12/17/2022</a:t>
            </a:fld>
            <a:endParaRPr lang="en-U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461D46-7A9F-43B3-9944-9518E01EACD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614077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01F8A-C3D8-4C19-93A9-9989EBC1E5A5}" type="datetimeFigureOut">
              <a:rPr lang="en-US" smtClean="0"/>
              <a:t>12/17/2022</a:t>
            </a:fld>
            <a:endParaRPr lang="en-U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461D46-7A9F-43B3-9944-9518E01EACD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20954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01F8A-C3D8-4C19-93A9-9989EBC1E5A5}" type="datetimeFigureOut">
              <a:rPr lang="en-US" smtClean="0"/>
              <a:t>12/17/2022</a:t>
            </a:fld>
            <a:endParaRPr lang="en-US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461D46-7A9F-43B3-9944-9518E01EACD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19700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01F8A-C3D8-4C19-93A9-9989EBC1E5A5}" type="datetimeFigureOut">
              <a:rPr lang="en-US" smtClean="0"/>
              <a:t>12/17/2022</a:t>
            </a:fld>
            <a:endParaRPr lang="en-US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461D46-7A9F-43B3-9944-9518E01EACD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349657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01F8A-C3D8-4C19-93A9-9989EBC1E5A5}" type="datetimeFigureOut">
              <a:rPr lang="en-US" smtClean="0"/>
              <a:t>12/17/2022</a:t>
            </a:fld>
            <a:endParaRPr lang="en-US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461D46-7A9F-43B3-9944-9518E01EACD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03902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01F8A-C3D8-4C19-93A9-9989EBC1E5A5}" type="datetimeFigureOut">
              <a:rPr lang="en-US" smtClean="0"/>
              <a:t>12/17/2022</a:t>
            </a:fld>
            <a:endParaRPr lang="en-U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461D46-7A9F-43B3-9944-9518E01EACD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729038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posición de imagen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01F8A-C3D8-4C19-93A9-9989EBC1E5A5}" type="datetimeFigureOut">
              <a:rPr lang="en-US" smtClean="0"/>
              <a:t>12/17/2022</a:t>
            </a:fld>
            <a:endParaRPr lang="en-U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461D46-7A9F-43B3-9944-9518E01EACD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76250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9F20748A-3D51-6ACD-FD89-28E14E9867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4320847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4" imgW="395" imgH="396" progId="TCLayout.ActiveDocument.1">
                  <p:embed/>
                </p:oleObj>
              </mc:Choice>
              <mc:Fallback>
                <p:oleObj name="Diapositiva de think-cell" r:id="rId1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E101F8A-C3D8-4C19-93A9-9989EBC1E5A5}" type="datetimeFigureOut">
              <a:rPr lang="en-US" smtClean="0"/>
              <a:t>12/17/2022</a:t>
            </a:fld>
            <a:endParaRPr lang="en-U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4461D46-7A9F-43B3-9944-9518E01EACD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16854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dirty="0" err="1"/>
              <a:t>Actividad</a:t>
            </a:r>
            <a:r>
              <a:rPr lang="en-US" dirty="0"/>
              <a:t> </a:t>
            </a:r>
            <a:r>
              <a:rPr lang="en-US" dirty="0" err="1"/>
              <a:t>en</a:t>
            </a:r>
            <a:r>
              <a:rPr lang="en-US" dirty="0"/>
              <a:t> </a:t>
            </a:r>
            <a:r>
              <a:rPr lang="en-US" dirty="0" err="1"/>
              <a:t>Clases</a:t>
            </a:r>
            <a:br>
              <a:rPr lang="en-US" dirty="0"/>
            </a:br>
            <a:r>
              <a:rPr lang="en-US" dirty="0"/>
              <a:t>Base de </a:t>
            </a:r>
            <a:r>
              <a:rPr lang="en-US" dirty="0" err="1"/>
              <a:t>Datos</a:t>
            </a:r>
            <a:r>
              <a:rPr lang="en-US" dirty="0"/>
              <a:t> SQL</a:t>
            </a:r>
            <a:br>
              <a:rPr lang="en-US" dirty="0"/>
            </a:br>
            <a:r>
              <a:rPr lang="en-US" dirty="0"/>
              <a:t>Airbnb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David </a:t>
            </a:r>
            <a:r>
              <a:rPr lang="en-US" dirty="0" err="1"/>
              <a:t>Díaz</a:t>
            </a:r>
            <a:r>
              <a:rPr lang="en-US" dirty="0"/>
              <a:t> S. </a:t>
            </a:r>
            <a:r>
              <a:rPr lang="en-US" dirty="0" err="1"/>
              <a:t>Ph.D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17835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8200" y="0"/>
            <a:ext cx="10515600" cy="1325563"/>
          </a:xfrm>
        </p:spPr>
        <p:txBody>
          <a:bodyPr/>
          <a:lstStyle/>
          <a:p>
            <a:r>
              <a:rPr lang="en-US" dirty="0" err="1"/>
              <a:t>Ejercicios</a:t>
            </a:r>
            <a:r>
              <a:rPr lang="en-US" dirty="0"/>
              <a:t> </a:t>
            </a:r>
            <a:r>
              <a:rPr lang="en-US" dirty="0" err="1"/>
              <a:t>Propuestos</a:t>
            </a:r>
            <a:endParaRPr lang="en-US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838200" y="1325563"/>
            <a:ext cx="10515600" cy="5181600"/>
          </a:xfrm>
        </p:spPr>
        <p:txBody>
          <a:bodyPr>
            <a:normAutofit/>
          </a:bodyPr>
          <a:lstStyle/>
          <a:p>
            <a:r>
              <a:rPr lang="es-ES" b="1" dirty="0"/>
              <a:t>Usando </a:t>
            </a:r>
            <a:r>
              <a:rPr lang="es-ES" b="1" dirty="0" err="1"/>
              <a:t>cloudbeaver</a:t>
            </a:r>
            <a:r>
              <a:rPr lang="es-ES" b="1" dirty="0"/>
              <a:t> cree 3 consultas SQL nuevas y muestre los resultados</a:t>
            </a:r>
          </a:p>
          <a:p>
            <a:r>
              <a:rPr lang="es-ES" dirty="0"/>
              <a:t>Debe ocupar al menos el comando </a:t>
            </a:r>
            <a:r>
              <a:rPr lang="es-ES" b="1" dirty="0"/>
              <a:t>WHERE</a:t>
            </a:r>
            <a:r>
              <a:rPr lang="es-ES" dirty="0"/>
              <a:t> con dos condiciones</a:t>
            </a:r>
          </a:p>
          <a:p>
            <a:r>
              <a:rPr lang="es-ES" dirty="0"/>
              <a:t>Debe ocupar al menos el comando </a:t>
            </a:r>
            <a:r>
              <a:rPr lang="es-ES" b="1" dirty="0"/>
              <a:t>ORDER BY</a:t>
            </a:r>
          </a:p>
          <a:p>
            <a:r>
              <a:rPr lang="es-ES" b="1" dirty="0" err="1"/>
              <a:t>Bonus</a:t>
            </a:r>
            <a:r>
              <a:rPr lang="es-ES" b="1" dirty="0"/>
              <a:t> </a:t>
            </a:r>
            <a:r>
              <a:rPr lang="es-ES" b="1" dirty="0" err="1"/>
              <a:t>points</a:t>
            </a:r>
            <a:r>
              <a:rPr lang="es-ES" b="1" dirty="0"/>
              <a:t> si ocupan GROUP BY</a:t>
            </a:r>
          </a:p>
          <a:p>
            <a:endParaRPr lang="es-E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267356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E5D7B58D-43C1-7B05-0979-A319A98883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67775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2E36131A-E036-004E-57DD-BC3E87F381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s-CL" sz="3200" dirty="0"/>
              <a:t>Consulta 1 (realizado junto con el profe con pequeña variación)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6C1D9595-E39D-88AE-637C-AF785CF4BF4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CL"/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37F4A065-7030-7275-DD51-E37B9122F1C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59894" y="1443649"/>
            <a:ext cx="9072212" cy="52841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82626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BC28BA96-4A07-65FF-A724-35E8EDACA9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93126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E2AF48F1-C730-D64A-8CF3-0CD3461F29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s-CL" sz="3200" dirty="0"/>
              <a:t>Consulta 2 (realizado junto con el profe)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F1FC7CC7-A8BE-3F0D-A3D6-8E2B63CF9C1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CL"/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EEDCDAD1-71AE-7B8B-BE86-9C688E4C45C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10685" y="1373028"/>
            <a:ext cx="7545503" cy="5066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508792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CBB0A34F-BF8B-AE46-3BE2-69F7D25C065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96207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C61A8960-C5D6-1EA0-FA71-20F6D65F0D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92947"/>
            <a:ext cx="10515600" cy="1325563"/>
          </a:xfrm>
        </p:spPr>
        <p:txBody>
          <a:bodyPr vert="horz"/>
          <a:lstStyle/>
          <a:p>
            <a:r>
              <a:rPr lang="es-CL" dirty="0"/>
              <a:t>Consulta 3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C0442005-7F57-8809-FFA0-58508AD31A1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CL"/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8D55A1A9-6BF2-AE01-ECAC-3BD42AA9120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52256" y="1120705"/>
            <a:ext cx="8036223" cy="5426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929184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D17DCD60-19B4-E1F3-8D8A-FBB2082DD7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74981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EE0631D0-A127-A043-F255-0CC0004B6F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s-CL" sz="3200" dirty="0"/>
              <a:t>Consulta 4 (sumo 1 más dado que hice 2 </a:t>
            </a:r>
            <a:r>
              <a:rPr lang="es-CL" sz="3200"/>
              <a:t>del profe)</a:t>
            </a:r>
            <a:endParaRPr lang="es-CL" sz="3200" dirty="0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285F3EA8-EC29-0504-F6C2-166F9C0B2FE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CL"/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FEAB8C57-AD19-C4DB-7106-283D3CD4C62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24712" y="1303954"/>
            <a:ext cx="6219996" cy="54701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93035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52</TotalTime>
  <Words>90</Words>
  <Application>Microsoft Office PowerPoint</Application>
  <PresentationFormat>Panorámica</PresentationFormat>
  <Paragraphs>11</Paragraphs>
  <Slides>6</Slides>
  <Notes>0</Notes>
  <HiddenSlides>0</HiddenSlides>
  <MMClips>0</MMClips>
  <ScaleCrop>false</ScaleCrop>
  <HeadingPairs>
    <vt:vector size="8" baseType="variant">
      <vt:variant>
        <vt:lpstr>Fuentes usadas</vt:lpstr>
      </vt:variant>
      <vt:variant>
        <vt:i4>3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6</vt:i4>
      </vt:variant>
    </vt:vector>
  </HeadingPairs>
  <TitlesOfParts>
    <vt:vector size="11" baseType="lpstr">
      <vt:lpstr>Arial</vt:lpstr>
      <vt:lpstr>Calibri</vt:lpstr>
      <vt:lpstr>Calibri Light</vt:lpstr>
      <vt:lpstr>Tema de Office</vt:lpstr>
      <vt:lpstr>Diapositiva de think-cell</vt:lpstr>
      <vt:lpstr>Actividad en Clases Base de Datos SQL Airbnb</vt:lpstr>
      <vt:lpstr>Ejercicios Propuestos</vt:lpstr>
      <vt:lpstr>Consulta 1 (realizado junto con el profe con pequeña variación)</vt:lpstr>
      <vt:lpstr>Consulta 2 (realizado junto con el profe)</vt:lpstr>
      <vt:lpstr>Consulta 3</vt:lpstr>
      <vt:lpstr>Consulta 4 (sumo 1 más dado que hice 2 del profe)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David Diaz</dc:creator>
  <cp:lastModifiedBy>Paulina Arriaza</cp:lastModifiedBy>
  <cp:revision>46</cp:revision>
  <dcterms:created xsi:type="dcterms:W3CDTF">2021-08-27T17:07:35Z</dcterms:created>
  <dcterms:modified xsi:type="dcterms:W3CDTF">2022-12-17T19:57:43Z</dcterms:modified>
</cp:coreProperties>
</file>